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1312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1:25 A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1/2018 11:25 A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1:25 A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1:25 A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19063" y="6305945"/>
            <a:ext cx="854868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19063" y="6507558"/>
            <a:ext cx="6862762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5.png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70.xml"/><Relationship Id="rId11" Type="http://schemas.openxmlformats.org/officeDocument/2006/relationships/image" Target="../media/image2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dirty="0">
                <a:ea typeface="MS PGothic" pitchFamily="34" charset="-128"/>
              </a:rPr>
              <a:t>Telco in EEMA – We developed a framework to allocate optimal funding to postpaid deals taking into consideration gross margin, target base migration and competitor pricing 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869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Large telco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in EEMA with 4.5bn (local currency) revenue in consumer postpaid segment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Postpaid revenue shrinking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along with high subscription churn necessitated a refresh in their postpaid product portfolio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Recognized the need to make the new postpaid packages competitive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by creating attractive handset deals</a:t>
            </a:r>
          </a:p>
          <a:p>
            <a:pPr lvl="1">
              <a:spcBef>
                <a:spcPct val="20000"/>
              </a:spcBef>
            </a:pP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veloped a deals framework that will cluster all the deals into a 8x8 matrix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– created based on categorizing price plan value and handsets into 8 groups</a:t>
            </a:r>
            <a:endParaRPr lang="en-US" altLang="ja-JP" sz="1400" dirty="0">
              <a:ea typeface="MS PGothic" pitchFamily="34" charset="-128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367749" y="2394018"/>
            <a:ext cx="2313251" cy="1229111"/>
          </a:xfrm>
          <a:prstGeom prst="rect">
            <a:avLst/>
          </a:prstGeom>
        </p:spPr>
      </p:pic>
      <p:sp>
        <p:nvSpPr>
          <p:cNvPr id="113" name="Rectangle 96"/>
          <p:cNvSpPr>
            <a:spLocks noChangeArrowheads="1"/>
          </p:cNvSpPr>
          <p:nvPr/>
        </p:nvSpPr>
        <p:spPr bwMode="gray">
          <a:xfrm>
            <a:off x="2192337" y="3623129"/>
            <a:ext cx="3468688" cy="288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ynthesized the competitor deals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 in to the above matrix to identify the key areas where they fund and also to identify the weight of funding across different deal cluster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Optimized the telco’s funding budget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combining the insights from above two steps and set up a process that would systematically allow the telco to create deals with appropriate and competitive funding every month on the right marketing channels</a:t>
            </a:r>
          </a:p>
          <a:p>
            <a:pPr lvl="1">
              <a:spcBef>
                <a:spcPct val="20000"/>
              </a:spcBef>
            </a:pP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114" name="Rectangle 93"/>
          <p:cNvSpPr>
            <a:spLocks noChangeArrowheads="1"/>
          </p:cNvSpPr>
          <p:nvPr/>
        </p:nvSpPr>
        <p:spPr bwMode="gray">
          <a:xfrm>
            <a:off x="5830887" y="1479550"/>
            <a:ext cx="2674938" cy="482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1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urrently the telco follows a static process to fund all price plans irrespective of the handset or deal the plan is part of which is margin dilutive,</a:t>
            </a:r>
            <a:endParaRPr lang="en-US" altLang="ja-JP" sz="1400" dirty="0">
              <a:solidFill>
                <a:schemeClr val="tx2"/>
              </a:solidFill>
              <a:ea typeface="MS PGothic" pitchFamily="34" charset="-128"/>
            </a:endParaRPr>
          </a:p>
          <a:p>
            <a:pPr>
              <a:spcBef>
                <a:spcPct val="1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Hence the framework and the process of funding will enable the following – </a:t>
            </a:r>
          </a:p>
          <a:p>
            <a:pPr lvl="2">
              <a:spcBef>
                <a:spcPct val="1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Identify only a handful of deals that would need funding and the channels on which they are pushed</a:t>
            </a:r>
          </a:p>
          <a:p>
            <a:pPr lvl="2">
              <a:spcBef>
                <a:spcPct val="1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The weight of funding on those deals will be determined in line with competition’s funding</a:t>
            </a:r>
          </a:p>
          <a:p>
            <a:pPr lvl="2">
              <a:spcBef>
                <a:spcPct val="1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The weight of funding will vary across deals to enable upsell during contract renewal and to increase gross connections/footfall </a:t>
            </a:r>
            <a:r>
              <a:rPr lang="en-US" altLang="ja-JP" sz="1400">
                <a:solidFill>
                  <a:schemeClr val="tx2"/>
                </a:solidFill>
                <a:ea typeface="MS PGothic" pitchFamily="34" charset="-128"/>
              </a:rPr>
              <a:t>to stores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D69FC590-05D0-D147-8BEA-706FF4A9D34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EL012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id="{1007E193-9AD3-4345-8C79-DF7A7F0744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Telecommunications (TMT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EEMA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NEWNAMES" val="True"/>
  <p:tag name="ISNEWSLIDENUMBER" val="True"/>
  <p:tag name="PREVIOUSNAME" val="C:\Users\Anuradha Sarin\Documents\16 Case Codification process\M&amp;S Cases\ASIA_MICHELLE CHUA CASES\2017 CASES\MTN_CLM and Pricing Analytics\2017 M&amp;S Case Study_Telco CLM and Pricing Analytics_Avinash P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77</Words>
  <Application>Microsoft Macintosh PowerPoint</Application>
  <PresentationFormat>Custom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Telco in EEMA – We developed a framework to allocate optimal funding to postpaid deals taking into consideration gross margin, target base migration and competitor pricing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4T18:11:58Z</dcterms:modified>
  <cp:category/>
  <cp:contentStatus/>
  <dc:language/>
  <cp:version/>
</cp:coreProperties>
</file>